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17"/>
  </p:notesMasterIdLst>
  <p:sldIdLst>
    <p:sldId id="288" r:id="rId2"/>
    <p:sldId id="289" r:id="rId3"/>
    <p:sldId id="290" r:id="rId4"/>
    <p:sldId id="291" r:id="rId5"/>
    <p:sldId id="292" r:id="rId6"/>
    <p:sldId id="293" r:id="rId7"/>
    <p:sldId id="294" r:id="rId8"/>
    <p:sldId id="295" r:id="rId9"/>
    <p:sldId id="296" r:id="rId10"/>
    <p:sldId id="297" r:id="rId11"/>
    <p:sldId id="298" r:id="rId12"/>
    <p:sldId id="299" r:id="rId13"/>
    <p:sldId id="300" r:id="rId14"/>
    <p:sldId id="301" r:id="rId15"/>
    <p:sldId id="302" r:id="rId1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8"/>
      <p:bold r:id="rId19"/>
    </p:embeddedFont>
    <p:embeddedFont>
      <p:font typeface="Ubuntu Light" panose="020B0604020202020204" charset="0"/>
      <p:regular r:id="rId20"/>
      <p:bold r:id="rId21"/>
      <p:italic r:id="rId22"/>
      <p:boldItalic r:id="rId23"/>
    </p:embeddedFont>
    <p:embeddedFont>
      <p:font typeface="Freestyle Script" panose="030804020302050B0404" pitchFamily="66" charset="0"/>
      <p:regular r:id="rId24"/>
    </p:embeddedFont>
    <p:embeddedFont>
      <p:font typeface="Bodoni" panose="020B0604020202020204" charset="0"/>
      <p:regular r:id="rId25"/>
      <p:bold r:id="rId26"/>
      <p:italic r:id="rId27"/>
      <p:boldItalic r:id="rId28"/>
    </p:embeddedFont>
    <p:embeddedFont>
      <p:font typeface="Arvo" panose="020B0604020202020204" charset="0"/>
      <p:regular r:id="rId29"/>
      <p:bold r:id="rId30"/>
      <p:italic r:id="rId31"/>
      <p:boldItalic r:id="rId32"/>
    </p:embeddedFont>
    <p:embeddedFont>
      <p:font typeface="Ubuntu" panose="020B0604020202020204" charset="0"/>
      <p:regular r:id="rId33"/>
      <p:bold r:id="rId34"/>
      <p:italic r:id="rId35"/>
      <p:boldItalic r:id="rId3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48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theme" Target="theme/theme1.xml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346600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654560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861173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790105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95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96921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00329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32707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0039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7934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44564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0907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6298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_AND_BODY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352183"/>
            <a:ext cx="8330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userDrawn="1">
  <p:cSld name="1_Main Content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3921609" y="10415"/>
            <a:ext cx="3617244" cy="79780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697151" y="4785760"/>
            <a:ext cx="373697" cy="28175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 dirty="0"/>
          </a:p>
        </p:txBody>
      </p:sp>
      <p:sp>
        <p:nvSpPr>
          <p:cNvPr id="16" name="Google Shape;16;p3"/>
          <p:cNvSpPr/>
          <p:nvPr/>
        </p:nvSpPr>
        <p:spPr>
          <a:xfrm>
            <a:off x="4344231" y="83231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177721" y="1021142"/>
            <a:ext cx="2765565" cy="39240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22" name="Google Shape;22;p3"/>
          <p:cNvSpPr/>
          <p:nvPr/>
        </p:nvSpPr>
        <p:spPr>
          <a:xfrm>
            <a:off x="406950" y="352199"/>
            <a:ext cx="2448750" cy="4362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433545" y="1000208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429931" y="1568350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429931" y="2178094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267599" y="1047726"/>
            <a:ext cx="655463" cy="36549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262650" y="1612910"/>
            <a:ext cx="655463" cy="36549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286622" y="2243172"/>
            <a:ext cx="655463" cy="36549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9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5;p3"/>
          <p:cNvSpPr/>
          <p:nvPr userDrawn="1"/>
        </p:nvSpPr>
        <p:spPr>
          <a:xfrm>
            <a:off x="3429931" y="2787838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25;p3"/>
          <p:cNvSpPr/>
          <p:nvPr userDrawn="1"/>
        </p:nvSpPr>
        <p:spPr>
          <a:xfrm>
            <a:off x="3429931" y="3399634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25;p3"/>
          <p:cNvSpPr/>
          <p:nvPr userDrawn="1"/>
        </p:nvSpPr>
        <p:spPr>
          <a:xfrm>
            <a:off x="3429931" y="4011430"/>
            <a:ext cx="440436" cy="47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06690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 number &amp; some text slide 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756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Python Hero Academy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4" r:id="rId1"/>
    <p:sldLayoutId id="2147483664" r:id="rId2"/>
    <p:sldLayoutId id="214748366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6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Bit-Wise </a:t>
            </a:r>
            <a:r>
              <a:rPr lang="en-US" sz="2400" dirty="0"/>
              <a:t>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0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984498"/>
              </p:ext>
            </p:extLst>
          </p:nvPr>
        </p:nvGraphicFramePr>
        <p:xfrm>
          <a:off x="460918" y="1413261"/>
          <a:ext cx="8363415" cy="31640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787805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787805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787805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amp;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ND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5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ets each bit to 1 if both bits are 1</a:t>
                      </a:r>
                      <a:endParaRPr lang="en-US" sz="1350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|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ets each bit to 1 if one of two bits is 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^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ets each bit to 1 if only one of two bits is 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702938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~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NO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Inverts all the bits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275011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lt;&lt;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5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Zero fill left shift</a:t>
                      </a:r>
                      <a:endParaRPr lang="en-US" sz="1350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hift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left and left-most bit falls off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1832"/>
                  </a:ext>
                </a:extLst>
              </a:tr>
              <a:tr h="4023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gt;&gt;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igned right shif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hift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right and right-most bit falls off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501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864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1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Arithmetic Operator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3" y="3400463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5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mparison Operators</a:t>
            </a:r>
            <a:endParaRPr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75498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ogical Operators</a:t>
            </a:r>
            <a:endParaRPr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it-Wise Operators</a:t>
            </a:r>
            <a:endParaRPr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embership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6</a:t>
            </a:r>
            <a:endParaRPr lang="es" dirty="0"/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Identity</a:t>
            </a:r>
            <a:r>
              <a:rPr lang="en-US" dirty="0" smtClean="0"/>
              <a:t> Operator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278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Membership </a:t>
            </a:r>
            <a:r>
              <a:rPr lang="en-US" sz="2400" dirty="0"/>
              <a:t>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2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20623"/>
              </p:ext>
            </p:extLst>
          </p:nvPr>
        </p:nvGraphicFramePr>
        <p:xfrm>
          <a:off x="802887" y="1413259"/>
          <a:ext cx="7820724" cy="200644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606908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i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the value exists in the objec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in Y</a:t>
                      </a:r>
                    </a:p>
                    <a:p>
                      <a:pPr algn="ctr"/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23 in my_list</a:t>
                      </a:r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not i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the value </a:t>
                      </a:r>
                      <a:r>
                        <a:rPr lang="en-US" u="sng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does</a:t>
                      </a:r>
                      <a:r>
                        <a:rPr lang="en-US" u="sng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not </a:t>
                      </a:r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ists in the objec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not in Y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“Hey” not in my_lis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11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3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Arithmetic Operator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3" y="3989928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mparison Operators</a:t>
            </a:r>
            <a:endParaRPr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75498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ogical Operators</a:t>
            </a:r>
            <a:endParaRPr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it-Wise Operators</a:t>
            </a:r>
            <a:endParaRPr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embership Operators</a:t>
            </a:r>
            <a:endParaRPr dirty="0"/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6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dentity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707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Membership </a:t>
            </a:r>
            <a:r>
              <a:rPr lang="en-US" sz="2400" dirty="0"/>
              <a:t>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4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503105"/>
              </p:ext>
            </p:extLst>
          </p:nvPr>
        </p:nvGraphicFramePr>
        <p:xfrm>
          <a:off x="802887" y="1413259"/>
          <a:ext cx="7820724" cy="200644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606908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is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both variables are the </a:t>
                      </a:r>
                      <a:r>
                        <a:rPr lang="en-US" b="1" u="none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ame objects</a:t>
                      </a:r>
                      <a:endParaRPr lang="en-US" b="1" u="none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 is B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 is 23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66881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is no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variables </a:t>
                      </a:r>
                      <a:r>
                        <a:rPr lang="en-US" u="sng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re not </a:t>
                      </a:r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the </a:t>
                      </a:r>
                      <a:r>
                        <a:rPr lang="en-US" b="1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ame objects</a:t>
                      </a:r>
                      <a:endParaRPr lang="en-US" b="1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 is not B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 is not 49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080952" y="3524444"/>
            <a:ext cx="478076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b="1" dirty="0" smtClean="0">
                <a:solidFill>
                  <a:schemeClr val="tx1">
                    <a:lumMod val="10000"/>
                  </a:schemeClr>
                </a:solidFill>
                <a:latin typeface="Ubuntu" panose="020B0604020202020204" charset="0"/>
                <a:cs typeface="Arial" panose="020B0604020202020204" pitchFamily="34" charset="0"/>
              </a:rPr>
              <a:t>What does it mean, being </a:t>
            </a:r>
            <a:r>
              <a:rPr lang="en-US" sz="1600" b="1" u="sng" dirty="0" smtClean="0">
                <a:solidFill>
                  <a:schemeClr val="tx1">
                    <a:lumMod val="10000"/>
                  </a:schemeClr>
                </a:solidFill>
                <a:latin typeface="Ubuntu" panose="020B0604020202020204" charset="0"/>
                <a:cs typeface="Arial" panose="020B0604020202020204" pitchFamily="34" charset="0"/>
              </a:rPr>
              <a:t>the same object</a:t>
            </a:r>
            <a:r>
              <a:rPr lang="en-US" sz="1600" b="1" dirty="0" smtClean="0">
                <a:solidFill>
                  <a:schemeClr val="tx1">
                    <a:lumMod val="10000"/>
                  </a:schemeClr>
                </a:solidFill>
                <a:latin typeface="Ubuntu" panose="020B0604020202020204" charset="0"/>
                <a:cs typeface="Arial" panose="020B0604020202020204" pitchFamily="34" charset="0"/>
              </a:rPr>
              <a:t>?</a:t>
            </a:r>
          </a:p>
          <a:p>
            <a:endParaRPr lang="en-US" sz="1600" b="1" dirty="0" smtClean="0">
              <a:solidFill>
                <a:schemeClr val="tx1">
                  <a:lumMod val="10000"/>
                </a:schemeClr>
              </a:solidFill>
              <a:latin typeface="Ubuntu" panose="020B0604020202020204" charset="0"/>
              <a:cs typeface="Arial" panose="020B0604020202020204" pitchFamily="34" charset="0"/>
            </a:endParaRPr>
          </a:p>
          <a:p>
            <a:r>
              <a:rPr lang="en-US" sz="1600" b="1" dirty="0" smtClean="0">
                <a:solidFill>
                  <a:schemeClr val="tx1">
                    <a:lumMod val="10000"/>
                  </a:schemeClr>
                </a:solidFill>
                <a:latin typeface="Ubuntu" panose="020B060402020202020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solidFill>
                  <a:schemeClr val="tx1">
                    <a:lumMod val="10000"/>
                  </a:schemeClr>
                </a:solidFill>
                <a:latin typeface="Ubuntu" panose="020B0604020202020204" charset="0"/>
                <a:cs typeface="Arial" panose="020B0604020202020204" pitchFamily="34" charset="0"/>
              </a:rPr>
              <a:t>. The difference between “==“ and “is”  ?</a:t>
            </a:r>
            <a:endParaRPr lang="en-US" sz="1600" b="1" dirty="0">
              <a:solidFill>
                <a:schemeClr val="tx1">
                  <a:lumMod val="10000"/>
                </a:schemeClr>
              </a:solidFill>
              <a:latin typeface="Ubuntu" panose="020B0604020202020204" charset="0"/>
              <a:cs typeface="Arial" panose="020B0604020202020204" pitchFamily="34" charset="0"/>
            </a:endParaRPr>
          </a:p>
          <a:p>
            <a:endParaRPr lang="en-US" sz="4000" dirty="0">
              <a:solidFill>
                <a:schemeClr val="tx1">
                  <a:lumMod val="1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 rot="1302143">
            <a:off x="6248546" y="3769322"/>
            <a:ext cx="26165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Freestyle Script" panose="030804020302050B0404" pitchFamily="66" charset="0"/>
              </a:rPr>
              <a:t>Let’s see some examples…</a:t>
            </a:r>
            <a:endParaRPr lang="en-US" sz="1800" b="1" dirty="0">
              <a:solidFill>
                <a:schemeClr val="accent1">
                  <a:lumMod val="50000"/>
                </a:schemeClr>
              </a:solidFill>
              <a:latin typeface="Freestyle Script" panose="030804020302050B04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420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5</a:t>
            </a:fld>
            <a:endParaRPr lang="es"/>
          </a:p>
        </p:txBody>
      </p:sp>
      <p:sp>
        <p:nvSpPr>
          <p:cNvPr id="2" name="TextBox 1"/>
          <p:cNvSpPr txBox="1"/>
          <p:nvPr/>
        </p:nvSpPr>
        <p:spPr>
          <a:xfrm>
            <a:off x="1620644" y="527824"/>
            <a:ext cx="577633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Thanks!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Got any questions or suggestions?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Here’s some contact info: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@</a:t>
            </a:r>
            <a:r>
              <a:rPr lang="en-US" sz="3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KMasoumi</a:t>
            </a:r>
            <a:endParaRPr lang="en-US" sz="36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Freestyle Script" panose="030804020302050B0404" pitchFamily="66" charset="0"/>
            </a:endParaRPr>
          </a:p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69" y="2720898"/>
            <a:ext cx="1709882" cy="170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57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rithmetic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/>
                </a:solidFill>
              </a:rPr>
              <a:t>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892930" y="988831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mparison Operators</a:t>
            </a:r>
            <a:endParaRPr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978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ogical Operators</a:t>
            </a:r>
            <a:endParaRPr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it-Wise Operators</a:t>
            </a:r>
            <a:endParaRPr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embership Operators</a:t>
            </a:r>
            <a:endParaRPr dirty="0"/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6</a:t>
            </a:r>
            <a:endParaRPr lang="es" dirty="0"/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Identity Operator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573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Arithmetic 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42631"/>
              </p:ext>
            </p:extLst>
          </p:nvPr>
        </p:nvGraphicFramePr>
        <p:xfrm>
          <a:off x="1568604" y="1413261"/>
          <a:ext cx="6096000" cy="29667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+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ddi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+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-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ubtrac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–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*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Multiplica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*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7029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/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Divis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/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275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%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Modulus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%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1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**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ponentia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**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5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//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Floor Divis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//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475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86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4</a:t>
            </a:fld>
            <a:endParaRPr lang="e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822372"/>
              </p:ext>
            </p:extLst>
          </p:nvPr>
        </p:nvGraphicFramePr>
        <p:xfrm>
          <a:off x="1836234" y="96643"/>
          <a:ext cx="5560743" cy="464634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853581">
                  <a:extLst>
                    <a:ext uri="{9D8B030D-6E8A-4147-A177-3AD203B41FA5}">
                      <a16:colId xmlns:a16="http://schemas.microsoft.com/office/drawing/2014/main" val="1683194159"/>
                    </a:ext>
                  </a:extLst>
                </a:gridCol>
                <a:gridCol w="1853581">
                  <a:extLst>
                    <a:ext uri="{9D8B030D-6E8A-4147-A177-3AD203B41FA5}">
                      <a16:colId xmlns:a16="http://schemas.microsoft.com/office/drawing/2014/main" val="1370358706"/>
                    </a:ext>
                  </a:extLst>
                </a:gridCol>
                <a:gridCol w="1853581">
                  <a:extLst>
                    <a:ext uri="{9D8B030D-6E8A-4147-A177-3AD203B41FA5}">
                      <a16:colId xmlns:a16="http://schemas.microsoft.com/office/drawing/2014/main" val="3100368604"/>
                    </a:ext>
                  </a:extLst>
                </a:gridCol>
              </a:tblGrid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Same as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544083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5305593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+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+= 2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+ 2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5552528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-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-= 3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– 3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098953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*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*= 4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*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4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4760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/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/= 5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/ 5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21996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%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%= 6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% 6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1605206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//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//= 7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// 7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1589386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**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**=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8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** 8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3687668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amp;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amp;= 9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&amp; 9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8935773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|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|= 10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|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10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612209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^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^= 1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^ 11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5411890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gt;&gt;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gt;&gt;= 12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&gt;&gt; 12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7436033"/>
                  </a:ext>
                </a:extLst>
              </a:tr>
              <a:tr h="3318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lt;&lt;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lt;&lt;= 13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 X &lt;&lt; 13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7093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6281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Arithmetic Operator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885496" y="1552615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ison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978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ogical Operators</a:t>
            </a:r>
            <a:endParaRPr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it-Wise Operators</a:t>
            </a:r>
            <a:endParaRPr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embership Operators</a:t>
            </a:r>
            <a:endParaRPr dirty="0"/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6</a:t>
            </a:r>
            <a:endParaRPr lang="es" dirty="0"/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Identity</a:t>
            </a:r>
            <a:r>
              <a:rPr lang="en-US" dirty="0" smtClean="0"/>
              <a:t> Operator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596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Comparison </a:t>
            </a:r>
            <a:r>
              <a:rPr lang="en-US" sz="2400" dirty="0"/>
              <a:t>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6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799963"/>
              </p:ext>
            </p:extLst>
          </p:nvPr>
        </p:nvGraphicFramePr>
        <p:xfrm>
          <a:off x="1568604" y="1413261"/>
          <a:ext cx="6096000" cy="259588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=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qual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==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!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Not equal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!=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gt;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Greater tha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gt;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7029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lt;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Less tha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lt;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275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gt;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5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Greater</a:t>
                      </a:r>
                      <a:r>
                        <a:rPr lang="en-US" sz="1350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than or equal to</a:t>
                      </a:r>
                      <a:endParaRPr lang="en-US" sz="1350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&gt;=</a:t>
                      </a:r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1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&lt;=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Less than or equal to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lt;= Y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0501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324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7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Arithmetic Operator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892930" y="2161603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3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mparison Operators</a:t>
            </a:r>
            <a:endParaRPr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978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Logical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Bit-Wise Operators</a:t>
            </a:r>
            <a:endParaRPr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embership Operators</a:t>
            </a:r>
            <a:endParaRPr dirty="0"/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6</a:t>
            </a:r>
            <a:endParaRPr lang="es" dirty="0"/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Identity</a:t>
            </a:r>
            <a:r>
              <a:rPr lang="en-US" dirty="0" smtClean="0"/>
              <a:t> Operator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893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Logical </a:t>
            </a:r>
            <a:r>
              <a:rPr lang="en-US" sz="2400" dirty="0"/>
              <a:t>Operator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8</a:t>
            </a:fld>
            <a:endParaRPr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382742"/>
              </p:ext>
            </p:extLst>
          </p:nvPr>
        </p:nvGraphicFramePr>
        <p:xfrm>
          <a:off x="802887" y="1413259"/>
          <a:ext cx="7820724" cy="246736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606908">
                  <a:extLst>
                    <a:ext uri="{9D8B030D-6E8A-4147-A177-3AD203B41FA5}">
                      <a16:colId xmlns:a16="http://schemas.microsoft.com/office/drawing/2014/main" val="105654717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476131543"/>
                    </a:ext>
                  </a:extLst>
                </a:gridCol>
                <a:gridCol w="2606908">
                  <a:extLst>
                    <a:ext uri="{9D8B030D-6E8A-4147-A177-3AD203B41FA5}">
                      <a16:colId xmlns:a16="http://schemas.microsoft.com/office/drawing/2014/main" val="3107251273"/>
                    </a:ext>
                  </a:extLst>
                </a:gridCol>
              </a:tblGrid>
              <a:tr h="61684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Operat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Exampl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83847"/>
                  </a:ext>
                </a:extLst>
              </a:tr>
              <a:tr h="61684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and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both statements are tru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gt; 7 and x &lt; 12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445911"/>
                  </a:ext>
                </a:extLst>
              </a:tr>
              <a:tr h="61684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or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turns True if one of the statements is tru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x &lt; 5 or x &gt; 10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3534566"/>
                  </a:ext>
                </a:extLst>
              </a:tr>
              <a:tr h="61684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 not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Reverse the result, returns False if the result is true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25000"/>
                            </a:schemeClr>
                          </a:solidFill>
                        </a:rPr>
                        <a:t>not(x &gt; 7 and x &lt; 12)</a:t>
                      </a:r>
                      <a:endParaRPr lang="en-US" dirty="0">
                        <a:solidFill>
                          <a:schemeClr val="tx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77029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923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9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97389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Arithmetic Operator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02386" y="901161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09715" y="1461864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885495" y="2773298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17103" y="266775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4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17103" y="2050165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29227" y="3276786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1550400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mparison Operators</a:t>
            </a:r>
            <a:endParaRPr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175498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ogical Operators</a:t>
            </a:r>
            <a:endParaRPr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278287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Bit-Wise Operator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400463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Membership Operators</a:t>
            </a:r>
            <a:endParaRPr dirty="0"/>
          </a:p>
        </p:txBody>
      </p:sp>
      <p:sp>
        <p:nvSpPr>
          <p:cNvPr id="28" name="Google Shape;204;p31"/>
          <p:cNvSpPr txBox="1">
            <a:spLocks/>
          </p:cNvSpPr>
          <p:nvPr/>
        </p:nvSpPr>
        <p:spPr>
          <a:xfrm>
            <a:off x="3029227" y="3874397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6</a:t>
            </a:r>
            <a:endParaRPr lang="es" dirty="0"/>
          </a:p>
        </p:txBody>
      </p:sp>
      <p:sp>
        <p:nvSpPr>
          <p:cNvPr id="29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15159" y="398678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Identity</a:t>
            </a:r>
            <a:r>
              <a:rPr lang="en-US" dirty="0" smtClean="0"/>
              <a:t> Operator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114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5</TotalTime>
  <Words>599</Words>
  <Application>Microsoft Office PowerPoint</Application>
  <PresentationFormat>On-screen Show (16:9)</PresentationFormat>
  <Paragraphs>249</Paragraphs>
  <Slides>15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Calibri</vt:lpstr>
      <vt:lpstr>Ubuntu Light</vt:lpstr>
      <vt:lpstr>Freestyle Script</vt:lpstr>
      <vt:lpstr>Arial</vt:lpstr>
      <vt:lpstr>Bodoni</vt:lpstr>
      <vt:lpstr>Arvo</vt:lpstr>
      <vt:lpstr>Ubuntu</vt:lpstr>
      <vt:lpstr>Minimal Charm</vt:lpstr>
      <vt:lpstr>PowerPoint Presentation</vt:lpstr>
      <vt:lpstr>Contents</vt:lpstr>
      <vt:lpstr>Arithmetic Operators</vt:lpstr>
      <vt:lpstr>PowerPoint Presentation</vt:lpstr>
      <vt:lpstr>Contents</vt:lpstr>
      <vt:lpstr>Comparison Operators</vt:lpstr>
      <vt:lpstr>Contents</vt:lpstr>
      <vt:lpstr>Logical Operators</vt:lpstr>
      <vt:lpstr>Contents</vt:lpstr>
      <vt:lpstr>Bit-Wise Operators</vt:lpstr>
      <vt:lpstr>Contents</vt:lpstr>
      <vt:lpstr>Membership Operators</vt:lpstr>
      <vt:lpstr>Contents</vt:lpstr>
      <vt:lpstr>Membership Operato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dc:creator>maryam</dc:creator>
  <cp:lastModifiedBy>Maryam Tashvighi</cp:lastModifiedBy>
  <cp:revision>61</cp:revision>
  <dcterms:modified xsi:type="dcterms:W3CDTF">2021-02-21T12:33:42Z</dcterms:modified>
</cp:coreProperties>
</file>